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1"/>
  </p:sldMasterIdLst>
  <p:sldIdLst>
    <p:sldId id="262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101" d="100"/>
          <a:sy n="101" d="100"/>
        </p:scale>
        <p:origin x="1308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28116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 August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7A4A67A6-0481-4D76-8CB9-11C2F507C742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01749343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2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>
                <a:latin typeface="FZZhunYuan-M02S"/>
                <a:cs typeface="FZZhunYuan-M02S"/>
              </a:rPr>
              <a:t>减少维护成本和停机风险</a:t>
            </a:r>
            <a:endParaRPr lang="zh-C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3045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>
                <a:latin typeface="FZZhunYuan-M02S"/>
                <a:cs typeface="FZZhunYuan-M02S"/>
              </a:rPr>
              <a:t>出瓶星形轮配有扭矩限制器</a:t>
            </a:r>
            <a:endParaRPr lang="zh-CN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价值：生产效率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设备：无菌灌装机（</a:t>
            </a: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FMa</a:t>
            </a: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）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产品目录代码：</a:t>
            </a: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SP001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价值和益处</a:t>
                      </a:r>
                      <a:endParaRPr kumimoji="0" 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FZZhunYuan-M02S"/>
                        <a:ea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ZZhunYuan-M02S"/>
                          <a:cs typeface="FZZhunYuan-M02S"/>
                        </a:rPr>
                        <a:t>描述</a:t>
                      </a:r>
                      <a:endParaRPr kumimoji="0" lang="zh-CN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新系统可以防止输送负荷超出允许的扭矩范围，因此降低了过载造成的高昂维修成本和停机风险。此外，还可限制系统中有破坏作用的能量累积，</a:t>
                      </a:r>
                      <a:r>
                        <a:rPr lang="en-US" altLang="de-DE" sz="1200" b="1" noProof="1">
                          <a:solidFill>
                            <a:schemeClr val="accent4"/>
                          </a:solidFill>
                          <a:latin typeface="FZZhunYuan-M02S"/>
                          <a:cs typeface="FZZhunYuan-M02S"/>
                        </a:rPr>
                        <a:t>降低幅度高达</a:t>
                      </a:r>
                      <a:r>
                        <a:rPr lang="en-US" altLang="de-DE" sz="1200" b="1" noProof="1">
                          <a:solidFill>
                            <a:schemeClr val="accent4"/>
                          </a:solidFill>
                          <a:latin typeface="+mn-lt"/>
                          <a:cs typeface="FZZhunYuan-M02S"/>
                        </a:rPr>
                        <a:t>90%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无需维护联轴器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安全联轴器提高了设备效率和产能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lang="zh-CN" altLang="de-DE" sz="1200" b="0" noProof="1">
                        <a:solidFill>
                          <a:schemeClr val="tx1"/>
                        </a:solidFill>
                        <a:latin typeface="FZZhunYuan-M02S"/>
                        <a:ea typeface="FZZhunYuan-M02S"/>
                        <a:cs typeface="FZZhunYuan-M02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目前的解决方案没有扭矩限制器，可能因过载导致高昂的维修成本和停机风险。 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新解决方案采用扭矩限制器和较长轴的全新控制元件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8" t="29141" r="1955" b="10414"/>
          <a:stretch/>
        </p:blipFill>
        <p:spPr bwMode="auto">
          <a:xfrm>
            <a:off x="4901272" y="4246719"/>
            <a:ext cx="3627077" cy="1378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11">
            <a:extLst>
              <a:ext uri="{FF2B5EF4-FFF2-40B4-BE49-F238E27FC236}">
                <a16:creationId xmlns:a16="http://schemas.microsoft.com/office/drawing/2014/main" id="{D7D2CD0F-B1E6-4898-AA84-EAD4F41BE43C}"/>
              </a:ext>
            </a:extLst>
          </p:cNvPr>
          <p:cNvSpPr/>
          <p:nvPr/>
        </p:nvSpPr>
        <p:spPr>
          <a:xfrm>
            <a:off x="4770408" y="1743075"/>
            <a:ext cx="3870354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描述</a:t>
            </a:r>
            <a:endParaRPr kumimoji="0" lang="zh-CN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</p:txBody>
      </p:sp>
    </p:spTree>
    <p:extLst>
      <p:ext uri="{BB962C8B-B14F-4D97-AF65-F5344CB8AC3E}">
        <p14:creationId xmlns:p14="http://schemas.microsoft.com/office/powerpoint/2010/main" val="12794993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del_Template_4x3_v1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5</Words>
  <Application>Microsoft Office PowerPoint</Application>
  <PresentationFormat>Affichage à l'écran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Arial</vt:lpstr>
      <vt:lpstr>FZZhunYuan-M02S</vt:lpstr>
      <vt:lpstr>Wingdings</vt:lpstr>
      <vt:lpstr>1_Sidel_Template_4x3_v1</vt:lpstr>
      <vt:lpstr>think-cell Folie</vt:lpstr>
      <vt:lpstr>减少维护成本和停机风险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减少产品灌装流量偏差</dc:title>
  <dc:creator>Gouriou, Lydie</dc:creator>
  <cp:lastModifiedBy>Sorega, Dan</cp:lastModifiedBy>
  <cp:revision>7</cp:revision>
  <dcterms:created xsi:type="dcterms:W3CDTF">2014-07-21T08:52:21Z</dcterms:created>
  <dcterms:modified xsi:type="dcterms:W3CDTF">2019-08-19T12:06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08-19T12:06:41.3230455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6T11:02:42.835679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6T11:02:42.841679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